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8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4" r:id="rId10"/>
    <p:sldId id="4965" r:id="rId11"/>
    <p:sldId id="5025" r:id="rId12"/>
    <p:sldId id="5026" r:id="rId13"/>
    <p:sldId id="5014" r:id="rId14"/>
    <p:sldId id="4985" r:id="rId15"/>
    <p:sldId id="5021" r:id="rId16"/>
    <p:sldId id="5016" r:id="rId17"/>
    <p:sldId id="5020" r:id="rId18"/>
    <p:sldId id="5017" r:id="rId19"/>
    <p:sldId id="5031" r:id="rId20"/>
    <p:sldId id="4983" r:id="rId21"/>
    <p:sldId id="4986" r:id="rId22"/>
    <p:sldId id="4987" r:id="rId23"/>
    <p:sldId id="4988" r:id="rId24"/>
    <p:sldId id="4990" r:id="rId25"/>
    <p:sldId id="5022" r:id="rId26"/>
    <p:sldId id="5023" r:id="rId27"/>
    <p:sldId id="5027" r:id="rId28"/>
    <p:sldId id="5011" r:id="rId29"/>
    <p:sldId id="4993" r:id="rId30"/>
    <p:sldId id="4995" r:id="rId31"/>
    <p:sldId id="4996" r:id="rId32"/>
    <p:sldId id="4997" r:id="rId33"/>
    <p:sldId id="5004" r:id="rId34"/>
    <p:sldId id="5028" r:id="rId35"/>
    <p:sldId id="4994" r:id="rId36"/>
    <p:sldId id="5029" r:id="rId37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95902" autoAdjust="0"/>
  </p:normalViewPr>
  <p:slideViewPr>
    <p:cSldViewPr snapToGrid="0">
      <p:cViewPr varScale="1">
        <p:scale>
          <a:sx n="97" d="100"/>
          <a:sy n="97" d="100"/>
        </p:scale>
        <p:origin x="86" y="5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5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Christian Hidber</a:t>
            </a:r>
          </a:p>
          <a:p>
            <a:r>
              <a:rPr lang="en" sz="1800" dirty="0"/>
              <a:t>Oliver Zeigermann</a:t>
            </a:r>
            <a:endParaRPr lang="en" dirty="0"/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Risk, but nice benef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2396" indent="0">
              <a:buNone/>
            </a:pPr>
            <a:r>
              <a:rPr lang="en-US" b="1" dirty="0"/>
              <a:t>Choose something that is low risk, but has a nice benefit</a:t>
            </a:r>
          </a:p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  <a:endParaRPr lang="de-DE" dirty="0"/>
          </a:p>
          <a:p>
            <a:r>
              <a:rPr lang="en-US" dirty="0"/>
              <a:t>Low profile</a:t>
            </a:r>
          </a:p>
          <a:p>
            <a:r>
              <a:rPr lang="en-US" dirty="0"/>
              <a:t>Failures should be ok</a:t>
            </a:r>
          </a:p>
          <a:p>
            <a:r>
              <a:rPr lang="en-US" dirty="0"/>
              <a:t>Let the whole organization learn</a:t>
            </a:r>
          </a:p>
          <a:p>
            <a:r>
              <a:rPr lang="en-US" dirty="0"/>
              <a:t>Management likes it, but is afraid</a:t>
            </a:r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8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The Small Handyman vs. Engineer Task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52396" indent="0" fontAlgn="base">
              <a:buNone/>
            </a:pPr>
            <a:r>
              <a:rPr lang="en-US" b="1" dirty="0"/>
              <a:t>Ad-hoc prompting is something very different from writing a prompt for a service</a:t>
            </a:r>
            <a:endParaRPr lang="de-DE" b="1" dirty="0"/>
          </a:p>
          <a:p>
            <a:pPr marL="152396" indent="0" fontAlgn="base">
              <a:buNone/>
            </a:pPr>
            <a:endParaRPr lang="de-DE" dirty="0"/>
          </a:p>
          <a:p>
            <a:pPr marL="152396" indent="0" fontAlgn="base">
              <a:buNone/>
            </a:pPr>
            <a:r>
              <a:rPr lang="en-US" b="1" dirty="0"/>
              <a:t>With ad-hoc prompting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you can immediately see if it works.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there’s a high level of human oversight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only needs to work for a specific example</a:t>
            </a:r>
          </a:p>
          <a:p>
            <a:pPr marL="152396" indent="0" fontAlgn="base">
              <a:buNone/>
            </a:pPr>
            <a:endParaRPr lang="en-US" dirty="0"/>
          </a:p>
          <a:p>
            <a:pPr marL="152396" indent="0" fontAlgn="base">
              <a:buNone/>
            </a:pPr>
            <a:r>
              <a:rPr lang="en-US" b="1" dirty="0"/>
              <a:t>With prompting for a system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needs to generalize for all expected use case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Has no or less human supervis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Stability is expected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F9C87ED7-BF1C-2295-A288-1D4D752B300D}"/>
              </a:ext>
            </a:extLst>
          </p:cNvPr>
          <p:cNvSpPr/>
          <p:nvPr/>
        </p:nvSpPr>
        <p:spPr>
          <a:xfrm>
            <a:off x="7258445" y="3190940"/>
            <a:ext cx="3802642" cy="2551348"/>
          </a:xfrm>
          <a:prstGeom prst="cloudCallout">
            <a:avLst>
              <a:gd name="adj1" fmla="val -140568"/>
              <a:gd name="adj2" fmla="val 45692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alking about stability: </a:t>
            </a:r>
            <a:r>
              <a:rPr lang="en-US" sz="2800" b="1" dirty="0">
                <a:solidFill>
                  <a:schemeClr val="bg1"/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72668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686989" y="4272294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08" y="1816189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" r="26125"/>
          <a:stretch/>
        </p:blipFill>
        <p:spPr>
          <a:xfrm>
            <a:off x="276663" y="1816189"/>
            <a:ext cx="11625822" cy="287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PT-style models and RAG are the key to a new era of applications</a:t>
            </a:r>
          </a:p>
          <a:p>
            <a:r>
              <a:rPr lang="en-US" dirty="0"/>
              <a:t>Choose low-risk, nice-benefit applications (first)</a:t>
            </a:r>
          </a:p>
          <a:p>
            <a:r>
              <a:rPr lang="en-US" dirty="0"/>
              <a:t>Ad-hoc prompting is different from prompting for a system</a:t>
            </a:r>
          </a:p>
          <a:p>
            <a:r>
              <a:rPr lang="en-US" dirty="0"/>
              <a:t>Human Eval is a great starting point</a:t>
            </a:r>
          </a:p>
          <a:p>
            <a:r>
              <a:rPr lang="en-US" dirty="0"/>
              <a:t>LLM-as-a-Judge works, but take the scores with a grain of salt</a:t>
            </a:r>
          </a:p>
          <a:p>
            <a:r>
              <a:rPr lang="en-US" dirty="0"/>
              <a:t>Use a strong LLM for evaluation</a:t>
            </a:r>
          </a:p>
          <a:p>
            <a:r>
              <a:rPr lang="en-US" dirty="0"/>
              <a:t>Getting the Documents &amp; keeping them up-to-date can be painfu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375301" y="5091651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46</Words>
  <Application>Microsoft Office PowerPoint</Application>
  <PresentationFormat>Widescreen</PresentationFormat>
  <Paragraphs>526</Paragraphs>
  <Slides>3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The Small Handyman vs. Engineer Task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Wrap Up</vt:lpstr>
      <vt:lpstr>Key takeaways</vt:lpstr>
      <vt:lpstr>Thank you</vt:lpstr>
      <vt:lpstr>Llm-as-a-judge: Idea</vt:lpstr>
      <vt:lpstr>Your Experience ?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47</cp:revision>
  <cp:lastPrinted>2024-09-13T07:39:52Z</cp:lastPrinted>
  <dcterms:created xsi:type="dcterms:W3CDTF">2019-10-15T07:31:09Z</dcterms:created>
  <dcterms:modified xsi:type="dcterms:W3CDTF">2024-09-15T11:57:43Z</dcterms:modified>
</cp:coreProperties>
</file>